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charset="0"/>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70" d="100"/>
          <a:sy n="70" d="100"/>
        </p:scale>
        <p:origin x="48" y="6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39F04F54-89BC-4038-9ECE-66575EC486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CCE89337-5563-4BCF-9140-6415262B0C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968BC47C-3137-4227-A080-AC305FA6AE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3</c:v>
                </c:pt>
                <c:pt idx="1">
                  <c:v>0.33</c:v>
                </c:pt>
                <c:pt idx="2">
                  <c:v>0.31</c:v>
                </c:pt>
                <c:pt idx="3">
                  <c:v>7.0000000000000007E-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30%</c:v>
                  </c:pt>
                  <c:pt idx="1">
                    <c:v>33%</c:v>
                  </c:pt>
                  <c:pt idx="2">
                    <c:v>31%</c:v>
                  </c:pt>
                  <c:pt idx="3">
                    <c:v>7%</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E73A465F-B8F4-4A56-9FF7-AB73B2C787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AE73C9F8-89AB-4E80-B2D4-573574D656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CB868FE7-3CA0-4202-B2E8-598BBAC0A5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2</c:v>
                </c:pt>
                <c:pt idx="1">
                  <c:v>0.18</c:v>
                </c:pt>
                <c:pt idx="2">
                  <c:v>0.53</c:v>
                </c:pt>
                <c:pt idx="3">
                  <c:v>0.27</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2%</c:v>
                  </c:pt>
                  <c:pt idx="1">
                    <c:v>18%</c:v>
                  </c:pt>
                  <c:pt idx="2">
                    <c:v>53%</c:v>
                  </c:pt>
                  <c:pt idx="3">
                    <c:v>27%</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6</c:v>
                </c:pt>
                <c:pt idx="1">
                  <c:v>0.81</c:v>
                </c:pt>
                <c:pt idx="2">
                  <c:v>0.83</c:v>
                </c:pt>
                <c:pt idx="3">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FDC5E73A-9892-42FB-8F53-F5E2B0DDA7F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F7466092-D936-4416-8F99-02691870DEA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40E6B085-F7F1-41F9-BDE1-527423992B5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4</c:v>
                </c:pt>
                <c:pt idx="1">
                  <c:v>0.19</c:v>
                </c:pt>
                <c:pt idx="2">
                  <c:v>0.17</c:v>
                </c:pt>
                <c:pt idx="3">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76%</c:v>
                  </c:pt>
                  <c:pt idx="1">
                    <c:v>81%</c:v>
                  </c:pt>
                  <c:pt idx="2">
                    <c:v>83%</c:v>
                  </c:pt>
                  <c:pt idx="3">
                    <c:v>86%</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c:v>
                </c:pt>
                <c:pt idx="1">
                  <c:v>0</c:v>
                </c:pt>
                <c:pt idx="2">
                  <c:v>0.96</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6D40A2AD-4475-4AA0-BBDB-F2F61EC02E7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5BB27AD5-DD12-460B-A178-6CCE43FCDB1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F48CA203-B391-40A1-9978-0786DD4FA6B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A8B2FD11-4257-4E03-B959-48A81FF6173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c:v>
                </c:pt>
                <c:pt idx="1">
                  <c:v>0</c:v>
                </c:pt>
                <c:pt idx="2">
                  <c:v>0.04</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0%</c:v>
                  </c:pt>
                  <c:pt idx="1">
                    <c:v>-</c:v>
                  </c:pt>
                  <c:pt idx="2">
                    <c:v>96%</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9</c:v>
                </c:pt>
                <c:pt idx="1">
                  <c:v>0.82</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D361EA0F-98C7-4165-A433-49E3D9075C9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95217FDA-FBE3-481A-99B9-1994EC677FB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5EFCD1A0-555C-4382-9989-4FCE2BEE3C5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82F95AC5-6D53-4294-B412-CF37E2D9258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1</c:v>
                </c:pt>
                <c:pt idx="1">
                  <c:v>0.18</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9%</c:v>
                  </c:pt>
                  <c:pt idx="1">
                    <c:v>82%</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081ADDE2-DCC5-47BA-B191-43FA256B633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9320CCDC-3834-40BE-8099-9020FEB9184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1%</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6%</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1</c:v>
                </c:pt>
                <c:pt idx="1">
                  <c:v>0.88</c:v>
                </c:pt>
                <c:pt idx="2">
                  <c:v>0.85</c:v>
                </c:pt>
                <c:pt idx="3">
                  <c:v>0.91</c:v>
                </c:pt>
                <c:pt idx="4">
                  <c:v>0.9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3D7320A5-6D80-40E9-8BE9-93C85C4CC2E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70428F07-E97B-4914-96D4-D8B897CDAC3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4D9649EE-E665-4ACB-A025-D39EB0DEF54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F4CBC76C-5AF2-4C82-B2C4-89979EE27FD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9</c:v>
                </c:pt>
                <c:pt idx="1">
                  <c:v>0.12</c:v>
                </c:pt>
                <c:pt idx="2">
                  <c:v>0.15</c:v>
                </c:pt>
                <c:pt idx="3">
                  <c:v>0.09</c:v>
                </c:pt>
                <c:pt idx="4">
                  <c:v>0.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1%</c:v>
                  </c:pt>
                  <c:pt idx="1">
                    <c:v>88%</c:v>
                  </c:pt>
                  <c:pt idx="2">
                    <c:v>85%</c:v>
                  </c:pt>
                  <c:pt idx="3">
                    <c:v>91%</c:v>
                  </c:pt>
                  <c:pt idx="4">
                    <c:v>91%</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7</c:v>
                </c:pt>
                <c:pt idx="1">
                  <c:v>0.82</c:v>
                </c:pt>
                <c:pt idx="2">
                  <c:v>0.83</c:v>
                </c:pt>
                <c:pt idx="3">
                  <c:v>0.9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F0946BAC-47C9-4BB8-AD4C-704784C66D3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AC6ABE17-7AD0-4324-8664-4D753842EEA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4210BFE0-CB91-41D6-8378-C8BB2851D1F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3</c:v>
                </c:pt>
                <c:pt idx="1">
                  <c:v>0.18</c:v>
                </c:pt>
                <c:pt idx="2">
                  <c:v>0.17</c:v>
                </c:pt>
                <c:pt idx="3">
                  <c:v>7.0000000000000007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7%</c:v>
                  </c:pt>
                  <c:pt idx="1">
                    <c:v>82%</c:v>
                  </c:pt>
                  <c:pt idx="2">
                    <c:v>83%</c:v>
                  </c:pt>
                  <c:pt idx="3">
                    <c:v>93%</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8</c:v>
                </c:pt>
                <c:pt idx="1">
                  <c:v>0</c:v>
                </c:pt>
                <c:pt idx="2">
                  <c:v>0.75</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09A6B1EE-CF92-45B5-8C1C-F6FE2B02FD7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330909A0-41AE-4EB5-8824-E8D85267E6A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F1762C15-E6EA-4537-B673-5346618F4C2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CDFB1180-4FD0-453E-9C17-3B09CD683BC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2</c:v>
                </c:pt>
                <c:pt idx="1">
                  <c:v>0</c:v>
                </c:pt>
                <c:pt idx="2">
                  <c:v>0.25</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8%</c:v>
                  </c:pt>
                  <c:pt idx="1">
                    <c:v>-</c:v>
                  </c:pt>
                  <c:pt idx="2">
                    <c:v>75%</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88</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D73DAE56-EE8F-4AAA-AE77-5B28CA79A7D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851BA5CD-76C7-4EB4-B584-6D9FC646277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51D63CA6-595F-4DD7-B3C6-D0B4682FEE0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0F530B5C-E9C9-436E-B65E-F065527F9F6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12</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88%</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D9075EA5-360A-4109-B06D-EAF466E259F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49FF61A3-E060-459C-AEB1-9F7EF751EB5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89</c:v>
                </c:pt>
                <c:pt idx="2">
                  <c:v>2</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3</c:v>
                </c:pt>
                <c:pt idx="1">
                  <c:v>6</c:v>
                </c:pt>
                <c:pt idx="2">
                  <c:v>0</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5E62AD68-808D-4CF4-AE7E-12EE28E33B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BD1D7509-C95C-43F0-AD2A-D22762F238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3006BA82-2566-4548-BF63-BF4F6815F1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D5CB20C7-F265-428A-BCF6-A5573EF597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ECE53281-4124-4D52-B864-7FBBC83306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C6A0EF9D-8728-43F0-A10E-D55D57962F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8</c:v>
                </c:pt>
                <c:pt idx="1">
                  <c:v>6</c:v>
                </c:pt>
                <c:pt idx="2">
                  <c:v>4</c:v>
                </c:pt>
                <c:pt idx="3">
                  <c:v>1</c:v>
                </c:pt>
                <c:pt idx="4">
                  <c:v>2</c:v>
                </c:pt>
                <c:pt idx="5">
                  <c:v>3</c:v>
                </c:pt>
                <c:pt idx="6">
                  <c:v>4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8%</c:v>
                  </c:pt>
                  <c:pt idx="1">
                    <c:v>6%</c:v>
                  </c:pt>
                  <c:pt idx="2">
                    <c:v>4%</c:v>
                  </c:pt>
                  <c:pt idx="3">
                    <c:v>1%</c:v>
                  </c:pt>
                  <c:pt idx="4">
                    <c:v>2%</c:v>
                  </c:pt>
                  <c:pt idx="5">
                    <c:v>3%</c:v>
                  </c:pt>
                  <c:pt idx="6">
                    <c:v>42%</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6A6B0DF5-8349-4F5F-AF6C-0A4CA1A709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E9E7935A-44CB-4D61-B1CD-E28D788DC2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A715906A-6FC1-4D28-8128-9FF83690D7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E0104D4C-3C25-4456-A70F-00F3BB8B75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C556F3CD-CF85-4D1D-A6F9-DE55034891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F8245105-3E7E-4009-93F1-54FBD4F3E8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7</c:v>
                </c:pt>
                <c:pt idx="2">
                  <c:v>2</c:v>
                </c:pt>
                <c:pt idx="3">
                  <c:v>3</c:v>
                </c:pt>
                <c:pt idx="4">
                  <c:v>12</c:v>
                </c:pt>
                <c:pt idx="5">
                  <c:v>5</c:v>
                </c:pt>
                <c:pt idx="6">
                  <c:v>3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4%</c:v>
                  </c:pt>
                  <c:pt idx="1">
                    <c:v>7%</c:v>
                  </c:pt>
                  <c:pt idx="2">
                    <c:v>2%</c:v>
                  </c:pt>
                  <c:pt idx="3">
                    <c:v>3%</c:v>
                  </c:pt>
                  <c:pt idx="4">
                    <c:v>12%</c:v>
                  </c:pt>
                  <c:pt idx="5">
                    <c:v>5%</c:v>
                  </c:pt>
                  <c:pt idx="6">
                    <c:v>3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92687382-7E5A-48A0-BC25-CB2C1C21D4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FEBA1898-0B07-49CD-B03E-2513E5ABE3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F93A8E29-D436-41A5-9AFD-D0F4A8329E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700A6A0A-6AC4-4091-9BCE-867A8A5E3C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02062F41-A75F-4793-A991-14C411926B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1EE3A0D4-EB41-45C0-9516-A7E8BF4A79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6</c:v>
                </c:pt>
                <c:pt idx="1">
                  <c:v>8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6%</c:v>
                  </c:pt>
                  <c:pt idx="1">
                    <c:v>84%</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547AECA6-32A6-4398-8FA5-91D96DF3F6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9D11D4E4-C43F-4088-A3E0-91374F18F7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44406804-10B4-4D5A-9216-8AE75AF5B4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906C027F-AEC5-4BB4-945B-EE61D71D52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999999999999995</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7%</c:v>
                  </c:pt>
                  <c:pt idx="1">
                    <c:v>43%</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183FAC11-88A2-47B5-8F20-A8E8DE0F9A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206C2D39-A5AB-4CEE-B33D-0DCF77D1B6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C42B5E3D-40C4-48BB-89EF-9611A8C962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E0B128CD-01BD-4B52-966D-54887D3D4C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4</c:v>
                </c:pt>
                <c:pt idx="2">
                  <c:v>0</c:v>
                </c:pt>
                <c:pt idx="3">
                  <c:v>0</c:v>
                </c:pt>
                <c:pt idx="4">
                  <c:v>0.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4%</c:v>
                  </c:pt>
                  <c:pt idx="1">
                    <c:v>44%</c:v>
                  </c:pt>
                  <c:pt idx="2">
                    <c:v>-</c:v>
                  </c:pt>
                  <c:pt idx="3">
                    <c:v>-</c:v>
                  </c:pt>
                  <c:pt idx="4">
                    <c:v>1%</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FE531C15-BAFA-4DC0-8B0D-D6300DC8B5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3916F0E2-30FC-4759-8A02-EF54AC5F90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2EA91A0F-0489-4434-B1CB-5A95316F83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p</c:v>
                  </c:pt>
                  <c:pt idx="1">
                    <c:v>94%q</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9FDF6E68-F079-49F0-A883-A000CEAD97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C796E44F-5ED3-4434-9760-F7C0E62285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c:v>
                  </c:pt>
                  <c:pt idx="1">
                    <c:v>93%</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81B6AB13-5CF7-45E6-9338-A179B5F79E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1E41D56F-256D-433B-AAEF-7F4846C973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83818D8C-DB6A-4154-8BC3-99E6E16CED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3C6F22B4-9B65-4938-BEE2-E85DB7DE00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CB74B152-8155-4C3B-95AE-2C3A70AB72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F0E676B4-C3A5-41E3-83D0-D738208F0E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60BB5E77-9360-4D89-B854-BDE4C783E4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90</c:v>
                </c:pt>
                <c:pt idx="2">
                  <c:v>81</c:v>
                </c:pt>
                <c:pt idx="3">
                  <c:v>73</c:v>
                </c:pt>
                <c:pt idx="4">
                  <c:v>92</c:v>
                </c:pt>
                <c:pt idx="5">
                  <c:v>35</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1%</c:v>
                  </c:pt>
                  <c:pt idx="1">
                    <c:v>90%</c:v>
                  </c:pt>
                  <c:pt idx="2">
                    <c:v>81%</c:v>
                  </c:pt>
                  <c:pt idx="3">
                    <c:v>73%</c:v>
                  </c:pt>
                  <c:pt idx="4">
                    <c:v>92%</c:v>
                  </c:pt>
                  <c:pt idx="5">
                    <c:v>35%</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5803EB38-8BF5-41DD-9DB3-77A60E9669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541E399E-951B-4F9A-8BEB-D34FD9CE0F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65E82B02-5240-47F1-9AB4-B2EC2E0AE7A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076EF4AF-629C-4A9D-B71B-30984F8C7E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r>
                      <a:rPr lang="en-GB"/>
                      <a:t>9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3E36-4621-A2A8-3ADDA83CA04C}"/>
                </c:ext>
              </c:extLst>
            </c:dLbl>
            <c:dLbl>
              <c:idx val="5"/>
              <c:tx>
                <c:rich>
                  <a:bodyPr/>
                  <a:lstStyle/>
                  <a:p>
                    <a:fld id="{067E57F2-E8E0-4397-B10B-C8F086DE10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648B0B72-A203-4772-9352-375815F2E2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4</c:v>
                </c:pt>
                <c:pt idx="1">
                  <c:v>88</c:v>
                </c:pt>
                <c:pt idx="2">
                  <c:v>72</c:v>
                </c:pt>
                <c:pt idx="3">
                  <c:v>64</c:v>
                </c:pt>
                <c:pt idx="4">
                  <c:v>92</c:v>
                </c:pt>
                <c:pt idx="5">
                  <c:v>45</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4%</c:v>
                  </c:pt>
                  <c:pt idx="1">
                    <c:v>88%</c:v>
                  </c:pt>
                  <c:pt idx="2">
                    <c:v>72%</c:v>
                  </c:pt>
                  <c:pt idx="3">
                    <c:v>64%</c:v>
                  </c:pt>
                  <c:pt idx="4">
                    <c:v>92%p</c:v>
                  </c:pt>
                  <c:pt idx="5">
                    <c:v>45%</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4</c:v>
                </c:pt>
                <c:pt idx="1">
                  <c:v>28</c:v>
                </c:pt>
                <c:pt idx="2">
                  <c:v>13</c:v>
                </c:pt>
                <c:pt idx="3">
                  <c:v>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1</c:v>
                </c:pt>
                <c:pt idx="1">
                  <c:v>33</c:v>
                </c:pt>
                <c:pt idx="2">
                  <c:v>17</c:v>
                </c:pt>
                <c:pt idx="3">
                  <c:v>7</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416550F0-7FEB-44F4-B87B-4E2AC9C5CE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74F3D509-3616-4164-889D-6C03CE2BF4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9F001BE3-2399-4788-A4A8-B9E7EC2C86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1E175FBD-538D-400E-BDF7-707FB09B00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8%</c:v>
                  </c:pt>
                  <c:pt idx="1">
                    <c:v>-</c:v>
                  </c:pt>
                  <c:pt idx="2">
                    <c:v>1%</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24</c:v>
                </c:pt>
                <c:pt idx="2">
                  <c:v>6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c:v>
                </c:pt>
                <c:pt idx="1">
                  <c:v>38</c:v>
                </c:pt>
                <c:pt idx="2">
                  <c:v>5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8</c:v>
                </c:pt>
                <c:pt idx="2">
                  <c:v>31</c:v>
                </c:pt>
                <c:pt idx="3">
                  <c:v>15</c:v>
                </c:pt>
                <c:pt idx="4">
                  <c:v>2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1</c:v>
                </c:pt>
                <c:pt idx="1">
                  <c:v>24</c:v>
                </c:pt>
                <c:pt idx="2">
                  <c:v>17</c:v>
                </c:pt>
                <c:pt idx="3">
                  <c:v>17</c:v>
                </c:pt>
                <c:pt idx="4">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314</c:v>
                </c:pt>
                <c:pt idx="1">
                  <c:v>0.17100000000000001</c:v>
                </c:pt>
                <c:pt idx="2">
                  <c:v>0.17599999999999999</c:v>
                </c:pt>
                <c:pt idx="3">
                  <c:v>0.19</c:v>
                </c:pt>
                <c:pt idx="4">
                  <c:v>0.1489999999999999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38200000000000001</c:v>
                </c:pt>
                <c:pt idx="1">
                  <c:v>0.20499999999999999</c:v>
                </c:pt>
                <c:pt idx="2">
                  <c:v>0.14399999999999999</c:v>
                </c:pt>
                <c:pt idx="3">
                  <c:v>0.16800000000000001</c:v>
                </c:pt>
                <c:pt idx="4">
                  <c:v>0.1019999999999999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4</c:v>
                </c:pt>
                <c:pt idx="2">
                  <c:v>29</c:v>
                </c:pt>
                <c:pt idx="3">
                  <c:v>18</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9</c:v>
                </c:pt>
                <c:pt idx="2">
                  <c:v>19</c:v>
                </c:pt>
                <c:pt idx="3">
                  <c:v>19</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1</c:v>
                </c:pt>
                <c:pt idx="2">
                  <c:v>28</c:v>
                </c:pt>
                <c:pt idx="3">
                  <c:v>17</c:v>
                </c:pt>
                <c:pt idx="4">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6</c:v>
                </c:pt>
                <c:pt idx="1">
                  <c:v>30</c:v>
                </c:pt>
                <c:pt idx="2">
                  <c:v>15</c:v>
                </c:pt>
                <c:pt idx="3">
                  <c:v>13</c:v>
                </c:pt>
                <c:pt idx="4">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7B91E4AB-BB30-4811-952A-592A7B619C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40CEB9CF-D5A9-41DB-AC95-41A27770B5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C0D54859-2D05-4305-98B5-012CBDE35B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1407699B-BC8D-4AA3-A083-4AE707C701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3</c:v>
                </c:pt>
                <c:pt idx="1">
                  <c:v>0</c:v>
                </c:pt>
                <c:pt idx="2">
                  <c:v>0.04</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3%</c:v>
                  </c:pt>
                  <c:pt idx="1">
                    <c:v>-</c:v>
                  </c:pt>
                  <c:pt idx="2">
                    <c:v>4%</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E839026F-68E3-43A0-A0D1-34681EF40F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D2B680C6-98F7-4DAB-8401-607A45DC67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374D7777-1162-4996-BE65-CE2DC44D54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7017B3F7-BE5F-4C53-8148-A105AD08FA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4</c:v>
                </c:pt>
                <c:pt idx="1">
                  <c:v>0</c:v>
                </c:pt>
                <c:pt idx="2">
                  <c:v>0.14000000000000001</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84%</c:v>
                  </c:pt>
                  <c:pt idx="1">
                    <c:v>-</c:v>
                  </c:pt>
                  <c:pt idx="2">
                    <c:v>14%</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8</c:v>
                </c:pt>
                <c:pt idx="2">
                  <c:v>30</c:v>
                </c:pt>
                <c:pt idx="3">
                  <c:v>18</c:v>
                </c:pt>
                <c:pt idx="4">
                  <c:v>3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5</c:v>
                </c:pt>
                <c:pt idx="2">
                  <c:v>25</c:v>
                </c:pt>
                <c:pt idx="3">
                  <c:v>19</c:v>
                </c:pt>
                <c:pt idx="4">
                  <c:v>2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3</c:v>
                </c:pt>
                <c:pt idx="1">
                  <c:v>24</c:v>
                </c:pt>
                <c:pt idx="2">
                  <c:v>40</c:v>
                </c:pt>
                <c:pt idx="3">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7</c:v>
                </c:pt>
                <c:pt idx="1">
                  <c:v>33</c:v>
                </c:pt>
                <c:pt idx="2">
                  <c:v>33</c:v>
                </c:pt>
                <c:pt idx="3">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5</c:v>
                </c:pt>
                <c:pt idx="1">
                  <c:v>37</c:v>
                </c:pt>
                <c:pt idx="2">
                  <c:v>12</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9</c:v>
                </c:pt>
                <c:pt idx="1">
                  <c:v>22</c:v>
                </c:pt>
                <c:pt idx="2">
                  <c:v>5</c:v>
                </c:pt>
                <c:pt idx="3">
                  <c:v>2</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6</c:v>
                </c:pt>
                <c:pt idx="1">
                  <c:v>46</c:v>
                </c:pt>
                <c:pt idx="2">
                  <c:v>14</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48</c:v>
                </c:pt>
                <c:pt idx="2">
                  <c:v>16</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6</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7E41C4F4-C84F-4229-BD9C-3712D3AFE7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249AB0C2-CB8D-4567-8C80-F6FFC8A9A3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55E57C49-C2B6-4BF5-ADBE-22D2ADA50C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6680053D-4FA0-4E4B-82D2-D0376D4AC7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0FF01D24-5A81-4911-906B-7E74C149B2D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4B9DC066-6E76-44DB-BA98-E62EC8F33A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1</c:v>
                </c:pt>
                <c:pt idx="1">
                  <c:v>3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1%</c:v>
                  </c:pt>
                  <c:pt idx="1">
                    <c:v>39%</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EF668617-A725-496E-909B-335EB52FBA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FE21A820-C092-4F3C-8ED0-428536C240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776224A4-9E00-4F78-9039-BE24412ECC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E809C6A6-CD12-4560-86F9-1F27A5DCA4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7</c:v>
                </c:pt>
                <c:pt idx="1">
                  <c:v>6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7%</c:v>
                  </c:pt>
                  <c:pt idx="1">
                    <c:v>63%</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1506008A-6A2A-4FE3-83EC-273B3216C7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782BE820-19A3-4560-BE6D-8411BFED73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1%</c:v>
                  </c:pt>
                  <c:pt idx="1">
                    <c:v>59%</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4EE1BA54-BACB-4556-827B-73D2233E0F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008BE669-9FB3-43DA-A169-B757B0C2B9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1D7F112B-91A9-4EFB-A6C6-0B1BC677B0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A856A0EF-7053-49BA-8FF4-5D24E299CD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0C98913F-FC64-4890-A27C-B4726A4684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7174589C-99A4-480D-9B5C-F5A59B908D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D182179F-2038-4AFD-9948-362C5F9BBF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449DB486-3894-4CE4-B5A5-493941F587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305B1153-F417-4CF1-AAB3-D690EFC88A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E3DBD089-81A9-495B-9537-78797D2D94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2</c:v>
                </c:pt>
                <c:pt idx="1">
                  <c:v>3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2%</c:v>
                  </c:pt>
                  <c:pt idx="1">
                    <c:v>38%</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1A789AFA-F6EA-4E86-B687-E63F20EB84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27BA727F-1A90-4160-9056-A1ED60603C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1%</c:v>
                  </c:pt>
                  <c:pt idx="1">
                    <c:v>49%</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AE91DE64-B663-46BB-AE6F-3B6BE78D4E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04B159E4-1708-49F0-B768-0C22C73F35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B07BFC9C-59E5-425D-AAD9-C947C641D7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C48CC171-F940-4455-93D0-C00D2810C5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8</c:v>
                </c:pt>
                <c:pt idx="1">
                  <c:v>32</c:v>
                </c:pt>
                <c:pt idx="2">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9</c:v>
                </c:pt>
                <c:pt idx="1">
                  <c:v>50</c:v>
                </c:pt>
                <c:pt idx="2">
                  <c:v>1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1A9E74F2-C7DB-4DE2-8CA3-E7DA323039A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CE27AFB6-C220-46D5-AEE5-5BFB5021EC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BA8DF4E0-5C90-4DAC-BDBB-17F4175ECD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8387FC40-DD59-46C2-9DDF-5694491BC0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489E81B1-0F7D-4F7E-93C0-A15B07DE4D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E39AF6C9-37E4-48D8-813A-4F3FB387BE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7</c:v>
                </c:pt>
                <c:pt idx="1">
                  <c:v>6</c:v>
                </c:pt>
                <c:pt idx="2">
                  <c:v>67</c:v>
                </c:pt>
                <c:pt idx="3">
                  <c:v>32</c:v>
                </c:pt>
                <c:pt idx="4">
                  <c:v>18</c:v>
                </c:pt>
                <c:pt idx="5">
                  <c:v>20</c:v>
                </c:pt>
                <c:pt idx="6">
                  <c:v>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7%</c:v>
                  </c:pt>
                  <c:pt idx="1">
                    <c:v>6%</c:v>
                  </c:pt>
                  <c:pt idx="2">
                    <c:v>67%</c:v>
                  </c:pt>
                  <c:pt idx="3">
                    <c:v>32%</c:v>
                  </c:pt>
                  <c:pt idx="4">
                    <c:v>18%</c:v>
                  </c:pt>
                  <c:pt idx="5">
                    <c:v>20%</c:v>
                  </c:pt>
                  <c:pt idx="6">
                    <c:v>6%</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DDA0C255-E2D3-40EC-87DE-7AC17B0DF6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B3F7F03B-EFA1-4E72-96EB-49F15E9256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51D030C1-F164-44C7-8014-794813418E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8989C4CE-16DC-43A7-BF94-7990A3C0CC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EB630A3B-97F9-47FF-9D9F-AE376E9C1E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7ABA4063-DD3B-4BF3-ADFC-19430F13B8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8</c:v>
                </c:pt>
                <c:pt idx="1">
                  <c:v>20</c:v>
                </c:pt>
                <c:pt idx="2">
                  <c:v>37</c:v>
                </c:pt>
                <c:pt idx="3">
                  <c:v>43</c:v>
                </c:pt>
                <c:pt idx="4">
                  <c:v>8</c:v>
                </c:pt>
                <c:pt idx="5">
                  <c:v>16</c:v>
                </c:pt>
                <c:pt idx="6">
                  <c:v>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8%</c:v>
                  </c:pt>
                  <c:pt idx="1">
                    <c:v>20%</c:v>
                  </c:pt>
                  <c:pt idx="2">
                    <c:v>37%</c:v>
                  </c:pt>
                  <c:pt idx="3">
                    <c:v>43%</c:v>
                  </c:pt>
                  <c:pt idx="4">
                    <c:v>8%</c:v>
                  </c:pt>
                  <c:pt idx="5">
                    <c:v>16%</c:v>
                  </c:pt>
                  <c:pt idx="6">
                    <c:v>8%</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6</c:v>
                </c:pt>
                <c:pt idx="2">
                  <c:v>7</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5</c:v>
                </c:pt>
                <c:pt idx="1">
                  <c:v>38</c:v>
                </c:pt>
                <c:pt idx="2">
                  <c:v>5</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1%</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1</c:v>
                </c:pt>
                <c:pt idx="1">
                  <c:v>0.8</c:v>
                </c:pt>
                <c:pt idx="2">
                  <c:v>0.83</c:v>
                </c:pt>
                <c:pt idx="3">
                  <c:v>0.77</c:v>
                </c:pt>
                <c:pt idx="4">
                  <c:v>0.8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0E0C26E5-F41E-4569-B72E-A9C932C6FBF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89BA71C3-AAF6-4644-A077-8F05457BABC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4E9CCD97-FB9D-4D7D-A10F-2DC0A9FB187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ED195DDB-95D3-4135-B417-46A644743F5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9</c:v>
                </c:pt>
                <c:pt idx="1">
                  <c:v>0.2</c:v>
                </c:pt>
                <c:pt idx="2">
                  <c:v>0.17</c:v>
                </c:pt>
                <c:pt idx="3">
                  <c:v>0.23</c:v>
                </c:pt>
                <c:pt idx="4">
                  <c:v>0.1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1%</c:v>
                  </c:pt>
                  <c:pt idx="1">
                    <c:v>80%</c:v>
                  </c:pt>
                  <c:pt idx="2">
                    <c:v>83%</c:v>
                  </c:pt>
                  <c:pt idx="3">
                    <c:v>77%</c:v>
                  </c:pt>
                  <c:pt idx="4">
                    <c:v>83%</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ANCASHIRE AND SOUTH CUMBRIA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ANCASHIRE AND SOUTH CUMBRIA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ANCASHIRE AND SOUTH CUMBRIA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ANCASHIRE AND SOUTH CUMBRIA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ANCASHIRE AND SOUTH CUMBRIA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LANCASHIRE AND SOUTH CUMBRIA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393120618"/>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2777756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814687903"/>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495379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LANCASHIRE AND SOUTH CUMBRIA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0983380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49907951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3% of respondents who were marked as Type 1 in the sample selected ‘Type 1’, 6% selected ‘Type 2’, *% selected ‘Other’ and 1% selected ‘I don’t know’ ​</a:t>
            </a:r>
          </a:p>
          <a:p>
            <a:pPr marL="171450" indent="-171450">
              <a:buFont typeface="Arial" panose="020B0604020202020204" pitchFamily="34" charset="0"/>
              <a:buChar char="•"/>
              <a:defRPr/>
            </a:pPr>
            <a:r>
              <a:rPr lang="en-GB" sz="1200" dirty="0">
                <a:solidFill>
                  <a:schemeClr val="tx1"/>
                </a:solidFill>
                <a:effectLst/>
              </a:rPr>
              <a:t>89% of respondents who were marked as Type 2 in the sample selected ‘Type 2’, 4% selected ‘Type 1’, 2%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554); Type 2, ICS (671)).</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543875198"/>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494469625"/>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657062279"/>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20170153"/>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72633841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493); Type 2, National (19,941), ICS (53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71420115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88695823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496); Type 2, National (22,278), ICS (620))</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55783912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85520232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459); Type 2, National (21,082), ICS (586))</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414526392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48292799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553); Type 2, National (24,180), ICS (672))</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305975130"/>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246754284"/>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224053192"/>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587928156"/>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149156459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521); Type 2, National (22,482), ICS (624))</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74791400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24681128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65295046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34913014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76995486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8223447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27635317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73787961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62949801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523); Type 2, National (22,670), ICS (630))</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61592881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97542057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78603017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191489231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267398714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07899207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363789299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49463811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9317112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552); Type 2, National (24,076), ICS (666))</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93066132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52304118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86630525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26272497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56575334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158408150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10104234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190162014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551); Type 2, National (24,153), ICS (668))</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957121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95063179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40447777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6354341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88520359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63975232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02065559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3925407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419917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552); Type 2, National (24,135), ICS (66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22491290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62683996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73824238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76224977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26502639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54854889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8138515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88168969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37270185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552); Type 2, National (24,084), ICS (66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14036814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36949736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17026987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7537208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93374993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415801050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74656592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98663174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5603643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551); Type 2, National (24,070), ICS (66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0166035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4193394695"/>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1336347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659327813"/>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1973857598"/>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78261274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939512416"/>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14653968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425480058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554); Type 2, National (24,260), ICS (672))</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07649780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75062333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63984249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89168298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78624202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394700177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9448603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80252505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272685575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554); Type 2, National (24,267), ICS (672))</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319441656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62092106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98644892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83811611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154475491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89753919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1533943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400629320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40135252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553); Type 2, National (24,196), ICS (668))</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49256216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55483182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102572627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551); Type 2, National (24,019), ICS (663))</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44225261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13250899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69); Type 2, National (11,860), ICS (334))</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395943031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07046805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539); Type 2, National (21,228), ICS (587))</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12008564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46434937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539); Type 2, National (20,915), ICS (576))</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55666449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45427372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514); Type 2, National (20,086), ICS (551))</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66998544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65948809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522); Type 2, National (21,890), ICS (602))</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58947348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140524080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500); Type 2, National (18,585), ICS (514))</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57793817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259654839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68216517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01777995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9623272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65668530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09458478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312786348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532); Type 2, National (22,580), ICS (619))</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413413787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308354605"/>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983177036"/>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681435310"/>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483084037"/>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0609174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408); Type 2, National (12,350), ICS (326))</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62423788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801874607"/>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74188299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79177555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28436917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30877389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95121180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65661869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540); Type 2, National (10,911), ICS (28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64602916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28531957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96087082"/>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600805804"/>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952384226"/>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55486738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929617844"/>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521))</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64682605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103769247"/>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24014091"/>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4213657936"/>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11363356"/>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159130123"/>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627))</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LANCASHIRE AND SOUTH CUMBRIA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209</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228</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8%</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54</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674</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39</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870</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939732684"/>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2093892227"/>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804951901"/>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16772368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576715891"/>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117386648"/>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617603414"/>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LANCASHIRE AND SOUTH CUMBRIA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540575026"/>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blood test check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1721764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850860137"/>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Participating in a course about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10022286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3</TotalTime>
  <Words>5251</Words>
  <Application>Microsoft Office PowerPoint</Application>
  <PresentationFormat>Widescreen</PresentationFormat>
  <Paragraphs>802</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HelveticaNeueLT Std Lt Cn</vt:lpstr>
      <vt:lpstr>Wingdings</vt:lpstr>
      <vt:lpstr>Arial Black</vt:lpstr>
      <vt:lpstr>Arial (Body)</vt:lpstr>
      <vt:lpstr>Arial</vt:lpstr>
      <vt:lpstr>Wingdings 3</vt:lpstr>
      <vt:lpstr>Barlow</vt:lpstr>
      <vt:lpstr>Roboto</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4</cp:revision>
  <cp:lastPrinted>2024-09-17T13:37:47Z</cp:lastPrinted>
  <dcterms:created xsi:type="dcterms:W3CDTF">2024-06-17T14:42:21Z</dcterms:created>
  <dcterms:modified xsi:type="dcterms:W3CDTF">2024-12-04T12:4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